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7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978199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814143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0557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18714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65468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4390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04131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07069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1709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1198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833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79742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22104816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033248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1758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13467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501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10234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44090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39269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413206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38572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4be4516b55c86671225acba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C6E18FEB-B1E8-4C2F-868A-1F8582BA1A4C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2949687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es-ES" sz="1400" b="1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es-ES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CIÓ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3000"/>
              <a:t>Mejore el rendimiento de la producció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76606"/>
            <a:ext cx="7539038" cy="288925"/>
          </a:xfrm>
        </p:spPr>
        <p:txBody>
          <a:bodyPr/>
          <a:lstStyle/>
          <a:p>
            <a:r>
              <a:rPr lang="es-ES" sz="1800" dirty="0"/>
              <a:t>Cadena MCC modular de dosificación de entrada 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ES" sz="800" dirty="0"/>
              <a:t>Valor: Eficiencia, mantenimiento</a:t>
            </a:r>
          </a:p>
          <a:p>
            <a:r>
              <a:rPr lang="es-ES" sz="800" dirty="0"/>
              <a:t>Equipo: </a:t>
            </a:r>
            <a:r>
              <a:rPr lang="es-ES" sz="800" dirty="0" err="1"/>
              <a:t>Paletizadores</a:t>
            </a:r>
            <a:r>
              <a:rPr lang="es-ES" sz="800" dirty="0"/>
              <a:t> y </a:t>
            </a:r>
            <a:r>
              <a:rPr lang="es-ES" sz="800" dirty="0" err="1"/>
              <a:t>despaletizadores</a:t>
            </a:r>
            <a:r>
              <a:rPr lang="es-ES" sz="800" dirty="0"/>
              <a:t> </a:t>
            </a:r>
          </a:p>
          <a:p>
            <a:r>
              <a:rPr lang="es-ES" sz="800" dirty="0"/>
              <a:t>Código de catálogo</a:t>
            </a:r>
            <a:r>
              <a:rPr lang="es-ES" sz="800"/>
              <a:t>: EOL021</a:t>
            </a:r>
            <a:endParaRPr lang="es-ES" sz="80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/>
              <a:t>Reducción del tiempo de mantenimiento gracias a un procedimiento de sustitución más rápid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/>
              <a:t>Mayor control de la posición del envase, sincronización constante y mejor supervisión del tiempo y la velocidad de entrad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/>
              <a:t>Ajuste preciso de la dosificación gracias a los nuevos motores brushless de accionamiento de la cadena.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/>
              <a:t>Configuración de los cambios de formato más rápida y establ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Sustitución del sistema de dosificación de entrada, inicialmente </a:t>
            </a:r>
            <a:r>
              <a:rPr lang="es-ES" sz="1200" dirty="0" err="1"/>
              <a:t>Habasit</a:t>
            </a:r>
            <a:r>
              <a:rPr lang="es-ES" sz="1200" dirty="0"/>
              <a:t>, con cinta de goma, por la nueva cadena modular MCC, con un control más preciso por servomotores </a:t>
            </a:r>
            <a:r>
              <a:rPr lang="es-ES" sz="1200" dirty="0" err="1"/>
              <a:t>brushless</a:t>
            </a:r>
            <a:r>
              <a:rPr lang="es-ES" sz="1200" dirty="0"/>
              <a:t>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Acceso más sencillo a la cadena y procedimiento de mantenimiento más fácil: sin necesidad de desmontar completamente la cinta o los rodillo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Disponible en IBH, IBP, IBU, IDU, IDV, IEU, IEV, IFU e IGU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21534BE1-2AF0-429F-9626-564F5233B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228" y="4026135"/>
            <a:ext cx="1243868" cy="1595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A07D9EF4-DB4A-4AB4-850D-24B331295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299" y="4026135"/>
            <a:ext cx="1308733" cy="161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CasellaDiTesto 1">
            <a:extLst>
              <a:ext uri="{FF2B5EF4-FFF2-40B4-BE49-F238E27FC236}">
                <a16:creationId xmlns:a16="http://schemas.microsoft.com/office/drawing/2014/main" id="{B7496DEB-2E86-469D-9073-2AD815843377}"/>
              </a:ext>
            </a:extLst>
          </p:cNvPr>
          <p:cNvSpPr txBox="1"/>
          <p:nvPr/>
        </p:nvSpPr>
        <p:spPr>
          <a:xfrm>
            <a:off x="3325388" y="4561714"/>
            <a:ext cx="950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/>
              <a:t>Cinta Habasit</a:t>
            </a:r>
          </a:p>
        </p:txBody>
      </p:sp>
      <p:sp>
        <p:nvSpPr>
          <p:cNvPr id="26" name="CasellaDiTesto 1">
            <a:extLst>
              <a:ext uri="{FF2B5EF4-FFF2-40B4-BE49-F238E27FC236}">
                <a16:creationId xmlns:a16="http://schemas.microsoft.com/office/drawing/2014/main" id="{E7A2FE19-099D-44CE-8AF4-3F116A2C7A6E}"/>
              </a:ext>
            </a:extLst>
          </p:cNvPr>
          <p:cNvSpPr txBox="1"/>
          <p:nvPr/>
        </p:nvSpPr>
        <p:spPr>
          <a:xfrm>
            <a:off x="7557548" y="4488804"/>
            <a:ext cx="950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/>
              <a:t>Cadena modular MCC</a:t>
            </a:r>
          </a:p>
        </p:txBody>
      </p:sp>
    </p:spTree>
    <p:extLst>
      <p:ext uri="{BB962C8B-B14F-4D97-AF65-F5344CB8AC3E}">
        <p14:creationId xmlns:p14="http://schemas.microsoft.com/office/powerpoint/2010/main" val="3677929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6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Mejore el rendimiento de la producció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29</cp:revision>
  <cp:lastPrinted>2017-09-01T14:01:41Z</cp:lastPrinted>
  <dcterms:created xsi:type="dcterms:W3CDTF">2017-07-10T14:51:51Z</dcterms:created>
  <dcterms:modified xsi:type="dcterms:W3CDTF">2019-06-26T14:1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17:07.039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